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png&amp;ehk=2ydtl3N1v40qKNc5ESBeLQ&amp;r=0&amp;pid=OfficeInsert" ContentType="image/pn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06" r:id="rId13"/>
    <p:sldId id="1686" r:id="rId14"/>
    <p:sldId id="1687" r:id="rId15"/>
    <p:sldId id="1712" r:id="rId16"/>
    <p:sldId id="1688" r:id="rId17"/>
    <p:sldId id="1708" r:id="rId18"/>
    <p:sldId id="1714" r:id="rId19"/>
    <p:sldId id="1715" r:id="rId20"/>
    <p:sldId id="1716" r:id="rId21"/>
    <p:sldId id="1717" r:id="rId22"/>
    <p:sldId id="1713" r:id="rId23"/>
    <p:sldId id="1709" r:id="rId24"/>
    <p:sldId id="1718" r:id="rId25"/>
    <p:sldId id="1719" r:id="rId26"/>
    <p:sldId id="1720" r:id="rId27"/>
    <p:sldId id="1721" r:id="rId28"/>
    <p:sldId id="1723" r:id="rId29"/>
    <p:sldId id="1710" r:id="rId30"/>
    <p:sldId id="1724" r:id="rId31"/>
    <p:sldId id="1725" r:id="rId32"/>
    <p:sldId id="1726" r:id="rId33"/>
    <p:sldId id="1728" r:id="rId34"/>
    <p:sldId id="1727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7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1C1C1C"/>
    <a:srgbClr val="252525"/>
    <a:srgbClr val="008BF0"/>
    <a:srgbClr val="107C10"/>
    <a:srgbClr val="000000"/>
    <a:srgbClr val="FFFFFF"/>
    <a:srgbClr val="0078D7"/>
    <a:srgbClr val="737373"/>
    <a:srgbClr val="D83B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93" autoAdjust="0"/>
    <p:restoredTop sz="81029" autoAdjust="0"/>
  </p:normalViewPr>
  <p:slideViewPr>
    <p:cSldViewPr>
      <p:cViewPr varScale="1">
        <p:scale>
          <a:sx n="74" d="100"/>
          <a:sy n="74" d="100"/>
        </p:scale>
        <p:origin x="120" y="2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3/17 2:39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2:3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2:39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6569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2:3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2:3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2:3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413" t="12701" b="10109"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195.tiff"/><Relationship Id="rId4" Type="http://schemas.openxmlformats.org/officeDocument/2006/relationships/image" Target="../media/image194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image" Target="../media/image57.emf"/><Relationship Id="rId7" Type="http://schemas.openxmlformats.org/officeDocument/2006/relationships/image" Target="../media/image61.emf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emf"/><Relationship Id="rId11" Type="http://schemas.openxmlformats.org/officeDocument/2006/relationships/image" Target="../media/image65.emf"/><Relationship Id="rId5" Type="http://schemas.openxmlformats.org/officeDocument/2006/relationships/image" Target="../media/image59.emf"/><Relationship Id="rId10" Type="http://schemas.openxmlformats.org/officeDocument/2006/relationships/image" Target="../media/image64.png"/><Relationship Id="rId4" Type="http://schemas.openxmlformats.org/officeDocument/2006/relationships/image" Target="../media/image58.emf"/><Relationship Id="rId9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1.png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28.png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9.png"/><Relationship Id="rId18" Type="http://schemas.openxmlformats.org/officeDocument/2006/relationships/image" Target="../media/image94.jpeg"/><Relationship Id="rId3" Type="http://schemas.openxmlformats.org/officeDocument/2006/relationships/image" Target="../media/image28.png"/><Relationship Id="rId21" Type="http://schemas.openxmlformats.org/officeDocument/2006/relationships/image" Target="../media/image96.png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17" Type="http://schemas.openxmlformats.org/officeDocument/2006/relationships/image" Target="../media/image93.jpeg"/><Relationship Id="rId25" Type="http://schemas.openxmlformats.org/officeDocument/2006/relationships/image" Target="../media/image78.png"/><Relationship Id="rId2" Type="http://schemas.openxmlformats.org/officeDocument/2006/relationships/image" Target="../media/image82.png"/><Relationship Id="rId16" Type="http://schemas.openxmlformats.org/officeDocument/2006/relationships/image" Target="../media/image92.png"/><Relationship Id="rId20" Type="http://schemas.openxmlformats.org/officeDocument/2006/relationships/image" Target="../media/image95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24" Type="http://schemas.openxmlformats.org/officeDocument/2006/relationships/image" Target="../media/image99.png"/><Relationship Id="rId5" Type="http://schemas.openxmlformats.org/officeDocument/2006/relationships/image" Target="../media/image75.png"/><Relationship Id="rId15" Type="http://schemas.openxmlformats.org/officeDocument/2006/relationships/image" Target="../media/image91.png"/><Relationship Id="rId23" Type="http://schemas.openxmlformats.org/officeDocument/2006/relationships/image" Target="../media/image98.png"/><Relationship Id="rId10" Type="http://schemas.openxmlformats.org/officeDocument/2006/relationships/image" Target="../media/image86.png"/><Relationship Id="rId19" Type="http://schemas.microsoft.com/office/2007/relationships/hdphoto" Target="../media/hdphoto2.wdp"/><Relationship Id="rId4" Type="http://schemas.openxmlformats.org/officeDocument/2006/relationships/image" Target="../media/image74.png"/><Relationship Id="rId9" Type="http://schemas.openxmlformats.org/officeDocument/2006/relationships/image" Target="../media/image85.png"/><Relationship Id="rId14" Type="http://schemas.openxmlformats.org/officeDocument/2006/relationships/image" Target="../media/image90.png"/><Relationship Id="rId22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0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png"/><Relationship Id="rId5" Type="http://schemas.openxmlformats.org/officeDocument/2006/relationships/image" Target="../media/image105.jpg"/><Relationship Id="rId4" Type="http://schemas.openxmlformats.org/officeDocument/2006/relationships/image" Target="../media/image104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microsoft.com/office/2007/relationships/hdphoto" Target="../media/hdphoto4.wd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png"/><Relationship Id="rId3" Type="http://schemas.openxmlformats.org/officeDocument/2006/relationships/image" Target="../media/image90.png"/><Relationship Id="rId7" Type="http://schemas.openxmlformats.org/officeDocument/2006/relationships/image" Target="../media/image111.svg"/><Relationship Id="rId12" Type="http://schemas.openxmlformats.org/officeDocument/2006/relationships/image" Target="../media/image116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5" Type="http://schemas.openxmlformats.org/officeDocument/2006/relationships/image" Target="../media/image119.pn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Relationship Id="rId14" Type="http://schemas.openxmlformats.org/officeDocument/2006/relationships/image" Target="../media/image118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4.png"/><Relationship Id="rId11" Type="http://schemas.openxmlformats.org/officeDocument/2006/relationships/image" Target="../media/image129.png&amp;ehk=2ydtl3N1v40qKNc5ESBeLQ&amp;r=0&amp;pid=OfficeInsert"/><Relationship Id="rId5" Type="http://schemas.openxmlformats.org/officeDocument/2006/relationships/image" Target="../media/image123.png"/><Relationship Id="rId10" Type="http://schemas.openxmlformats.org/officeDocument/2006/relationships/image" Target="../media/image128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138.png"/><Relationship Id="rId3" Type="http://schemas.openxmlformats.org/officeDocument/2006/relationships/image" Target="../media/image130.png"/><Relationship Id="rId7" Type="http://schemas.openxmlformats.org/officeDocument/2006/relationships/image" Target="../media/image134.png"/><Relationship Id="rId12" Type="http://schemas.openxmlformats.org/officeDocument/2006/relationships/image" Target="../media/image137.png"/><Relationship Id="rId17" Type="http://schemas.openxmlformats.org/officeDocument/2006/relationships/image" Target="../media/image141.png"/><Relationship Id="rId2" Type="http://schemas.openxmlformats.org/officeDocument/2006/relationships/notesSlide" Target="../notesSlides/notesSlide31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33.png"/><Relationship Id="rId11" Type="http://schemas.microsoft.com/office/2007/relationships/hdphoto" Target="../media/hdphoto5.wdp"/><Relationship Id="rId5" Type="http://schemas.openxmlformats.org/officeDocument/2006/relationships/image" Target="../media/image132.png"/><Relationship Id="rId15" Type="http://schemas.openxmlformats.org/officeDocument/2006/relationships/image" Target="../media/image140.png"/><Relationship Id="rId10" Type="http://schemas.openxmlformats.org/officeDocument/2006/relationships/image" Target="../media/image136.png"/><Relationship Id="rId4" Type="http://schemas.openxmlformats.org/officeDocument/2006/relationships/image" Target="../media/image131.png"/><Relationship Id="rId9" Type="http://schemas.openxmlformats.org/officeDocument/2006/relationships/image" Target="../media/image135.png"/><Relationship Id="rId14" Type="http://schemas.openxmlformats.org/officeDocument/2006/relationships/image" Target="../media/image13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8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6.png"/><Relationship Id="rId26" Type="http://schemas.openxmlformats.org/officeDocument/2006/relationships/image" Target="../media/image40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4.jpeg"/><Relationship Id="rId42" Type="http://schemas.openxmlformats.org/officeDocument/2006/relationships/image" Target="../media/image48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2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5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39.jpeg"/><Relationship Id="rId32" Type="http://schemas.openxmlformats.org/officeDocument/2006/relationships/image" Target="../media/image43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7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1.jpeg"/><Relationship Id="rId36" Type="http://schemas.openxmlformats.org/officeDocument/2006/relationships/image" Target="../media/image45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2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49.jpeg"/><Relationship Id="rId4" Type="http://schemas.openxmlformats.org/officeDocument/2006/relationships/image" Target="../media/image29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4.png"/><Relationship Id="rId22" Type="http://schemas.openxmlformats.org/officeDocument/2006/relationships/image" Target="../media/image38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2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1.png"/><Relationship Id="rId8" Type="http://schemas.openxmlformats.org/officeDocument/2006/relationships/image" Target="../media/image31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3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6.jpeg"/><Relationship Id="rId46" Type="http://schemas.openxmlformats.org/officeDocument/2006/relationships/image" Target="../media/image50.jpeg"/><Relationship Id="rId20" Type="http://schemas.openxmlformats.org/officeDocument/2006/relationships/image" Target="../media/image37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/>
              <a:srcRect l="37018" t="20586" r="22508" b="29301"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/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hq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51" t="23529" r="6337" b="23704"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25" t="21960" r="13992" b="7291"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C5AD5-F256-4E9A-8ABA-286F178B2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Metric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7C3C10-20E0-4A47-9B80-32809A0DA8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0196" y="1617177"/>
            <a:ext cx="6324600" cy="481748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86584C0-9769-4DD9-9D3B-19499E669656}"/>
              </a:ext>
            </a:extLst>
          </p:cNvPr>
          <p:cNvSpPr/>
          <p:nvPr/>
        </p:nvSpPr>
        <p:spPr>
          <a:xfrm>
            <a:off x="6980085" y="1287462"/>
            <a:ext cx="52578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/>
              <a:t>18.5 Billion </a:t>
            </a:r>
          </a:p>
          <a:p>
            <a:pPr algn="ctr"/>
            <a:r>
              <a:rPr lang="en-US" sz="2400" dirty="0"/>
              <a:t>Monthly execution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198697-3A4B-4E3B-A925-4BE58BD02A8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80085" y="2659062"/>
          <a:ext cx="5257800" cy="3620121"/>
        </p:xfrm>
        <a:graphic>
          <a:graphicData uri="http://schemas.openxmlformats.org/drawingml/2006/table">
            <a:tbl>
              <a:tblPr/>
              <a:tblGrid>
                <a:gridCol w="1828799">
                  <a:extLst>
                    <a:ext uri="{9D8B030D-6E8A-4147-A177-3AD203B41FA5}">
                      <a16:colId xmlns:a16="http://schemas.microsoft.com/office/drawing/2014/main" val="2213047433"/>
                    </a:ext>
                  </a:extLst>
                </a:gridCol>
                <a:gridCol w="3429001">
                  <a:extLst>
                    <a:ext uri="{9D8B030D-6E8A-4147-A177-3AD203B41FA5}">
                      <a16:colId xmlns:a16="http://schemas.microsoft.com/office/drawing/2014/main" val="3441618526"/>
                    </a:ext>
                  </a:extLst>
                </a:gridCol>
              </a:tblGrid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raffic (1 </a:t>
                      </a:r>
                      <a:r>
                        <a:rPr lang="en-US" sz="2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me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338375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1,476,043,31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EING COMPANY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67123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62,432,82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LOGY CORPORATION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267738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16,187,53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VERSAL ELECTRONICS INC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4687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15,186,776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URION INSURANCE SERVICES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849203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51,796,394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OB LIMITED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9526864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57,368,20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lerudKorsnäs AB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591291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2,642,342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MAX INC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21013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70,339,973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CO SANTANDER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39886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52,897,247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067694"/>
                  </a:ext>
                </a:extLst>
              </a:tr>
              <a:tr h="209839"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34,605,861 </a:t>
                      </a:r>
                    </a:p>
                  </a:txBody>
                  <a:tcPr marL="8967" marR="8967" marT="8967" marB="43044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SON CORPORATION</a:t>
                      </a:r>
                    </a:p>
                  </a:txBody>
                  <a:tcPr marL="8967" marR="8967" marT="8967" marB="43044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14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031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33975" t="-12805" r="34358" b="1280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</a:extLst>
            </a:blip>
            <a:srcRect t="24251" b="26614"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6"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57649" y1="50372" x2="57649" y2="50372"/>
                        <a14:foregroundMark x1="43343" y1="40943" x2="43343" y2="40943"/>
                        <a14:foregroundMark x1="57082" y1="46154" x2="57082" y2="46154"/>
                        <a14:foregroundMark x1="42918" y1="41439" x2="42918" y2="41439"/>
                        <a14:foregroundMark x1="53541" y1="23573" x2="53541" y2="23573"/>
                        <a14:foregroundMark x1="73088" y1="78412" x2="73088" y2="78412"/>
                      </a14:backgroundRemoval>
                    </a14:imgEffect>
                  </a14:imgLayer>
                </a14:imgProps>
              </a:ext>
            </a:extLst>
          </a:blip>
          <a:srcRect l="35040" r="27464" b="26137"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06" t="14008" b="11601"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t="16254" r="8196" b="13852"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4"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2" t="12702" r="5633" b="13970"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3" t="2209" r="3483" b="6788"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4742</TotalTime>
  <Words>3515</Words>
  <Application>Microsoft Macintosh PowerPoint</Application>
  <PresentationFormat>Custom</PresentationFormat>
  <Paragraphs>799</Paragraphs>
  <Slides>113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Functions Metrics 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1</cp:revision>
  <dcterms:created xsi:type="dcterms:W3CDTF">2017-07-30T07:40:57Z</dcterms:created>
  <dcterms:modified xsi:type="dcterms:W3CDTF">2017-10-23T12:5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